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328" r:id="rId2"/>
    <p:sldId id="332" r:id="rId3"/>
    <p:sldId id="334" r:id="rId4"/>
    <p:sldId id="336" r:id="rId5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just format 2 - Dekorfär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664" autoAdjust="0"/>
    <p:restoredTop sz="96357" autoAdjust="0"/>
  </p:normalViewPr>
  <p:slideViewPr>
    <p:cSldViewPr snapToGrid="0">
      <p:cViewPr varScale="1">
        <p:scale>
          <a:sx n="99" d="100"/>
          <a:sy n="99" d="100"/>
        </p:scale>
        <p:origin x="576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3-02-2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7013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3-02-23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 smtClean="0">
                <a:solidFill>
                  <a:schemeClr val="bg1"/>
                </a:solidFill>
              </a:rPr>
              <a:t>RSG </a:t>
            </a:r>
            <a:r>
              <a:rPr lang="sv-SE" sz="4800" dirty="0">
                <a:solidFill>
                  <a:schemeClr val="bg1"/>
                </a:solidFill>
              </a:rPr>
              <a:t>s</a:t>
            </a:r>
            <a:r>
              <a:rPr lang="sv-SE" sz="4800" dirty="0" smtClean="0">
                <a:solidFill>
                  <a:schemeClr val="bg1"/>
                </a:solidFill>
              </a:rPr>
              <a:t>tandardisering</a:t>
            </a: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Översiktlig handlingsplan </a:t>
            </a:r>
            <a:r>
              <a:rPr lang="sv-SE" sz="3200" dirty="0" smtClean="0">
                <a:solidFill>
                  <a:schemeClr val="bg1"/>
                </a:solidFill>
              </a:rPr>
              <a:t>2023-01-04</a:t>
            </a: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642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021661"/>
              </p:ext>
            </p:extLst>
          </p:nvPr>
        </p:nvGraphicFramePr>
        <p:xfrm>
          <a:off x="0" y="0"/>
          <a:ext cx="12191999" cy="487539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8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100" b="0" i="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tveckla och öka användningen av standarder som skapar värde för regionernas verksamheter och dess intressenter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baseline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tarbeta rutiner för det nationella standardiseringsarbetet inom regioner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utiner framtagna och godkända i den nationella </a:t>
                      </a:r>
                      <a:r>
                        <a:rPr lang="sv-SE" sz="1100" i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redningsgruppen </a:t>
                      </a:r>
                      <a:r>
                        <a:rPr lang="sv-SE" sz="110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ör </a:t>
                      </a:r>
                      <a:r>
                        <a:rPr lang="sv-SE" sz="1100" i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ndardisering</a:t>
                      </a:r>
                      <a:endParaRPr lang="sv-SE" sz="1100" i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i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9490">
                <a:tc>
                  <a:txBody>
                    <a:bodyPr/>
                    <a:lstStyle/>
                    <a:p>
                      <a:endParaRPr lang="sv-SE" sz="1100" b="1" i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i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arknadsföra nyttan av standarder och standardisering mot regionerna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ktivitet </a:t>
                      </a: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nomförd</a:t>
                      </a:r>
                      <a:endParaRPr lang="sv-SE" sz="1100" b="0" i="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40234">
                <a:tc>
                  <a:txBody>
                    <a:bodyPr/>
                    <a:lstStyle/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ärka regioners position i att påverka nationell och internationell standardisering för ökad intressentnytta, samhällsnytta och hållbar utveckling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endParaRPr lang="sv-SE" sz="1100" b="0" i="0" baseline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a del av experternas reserapporter från det internationella standardiseringsarbetet samt sprida dessa till intressenter inom den egna organisationen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ntinuerlig aktivite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57712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sv-SE" sz="1100" b="0" i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100" b="0" i="0" dirty="0">
                          <a:solidFill>
                            <a:srgbClr val="39393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ara kontaktperson för standardiseringsfrågor och sprida information inom respektive region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ontinuerlig aktivite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100" b="0" i="0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86007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E252DD8-E15D-4AD1-AE43-ED1B51508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Resultat</a:t>
            </a:r>
            <a:r>
              <a:rPr lang="sv-SE" sz="4000" dirty="0"/>
              <a:t>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9EF301C-865D-4165-8232-E2BCDA80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800" dirty="0"/>
              <a:t>Under 2022 deltag jag på en fysiskt workshop med övriga RSG/RPO där en del var att presentera sin verksamhet för varandra vilket var väldigt givande och nödvändigt för att förstå hur frågor kan hanteras mellan områdena.</a:t>
            </a:r>
          </a:p>
        </p:txBody>
      </p:sp>
    </p:spTree>
    <p:extLst>
      <p:ext uri="{BB962C8B-B14F-4D97-AF65-F5344CB8AC3E}">
        <p14:creationId xmlns:p14="http://schemas.microsoft.com/office/powerpoint/2010/main" val="7145765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AA61D39-FADC-483C-B869-69E42A55D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Utmaninga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8134DDE-3533-4A29-A7E1-ED89121690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800" dirty="0"/>
              <a:t>Nå ut till rätt intressenter inom respektive region.</a:t>
            </a:r>
          </a:p>
        </p:txBody>
      </p:sp>
    </p:spTree>
    <p:extLst>
      <p:ext uri="{BB962C8B-B14F-4D97-AF65-F5344CB8AC3E}">
        <p14:creationId xmlns:p14="http://schemas.microsoft.com/office/powerpoint/2010/main" val="2102184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3</TotalTime>
  <Words>161</Words>
  <Application>Microsoft Office PowerPoint</Application>
  <PresentationFormat>Bredbild</PresentationFormat>
  <Paragraphs>21</Paragraphs>
  <Slides>4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4</vt:i4>
      </vt:variant>
    </vt:vector>
  </HeadingPairs>
  <TitlesOfParts>
    <vt:vector size="11" baseType="lpstr">
      <vt:lpstr>Arial</vt:lpstr>
      <vt:lpstr>Bryant Regular</vt:lpstr>
      <vt:lpstr>Calibri</vt:lpstr>
      <vt:lpstr>Times New Roman</vt:lpstr>
      <vt:lpstr>Verdana</vt:lpstr>
      <vt:lpstr>1_Office-tema</vt:lpstr>
      <vt:lpstr>think-cell Slide</vt:lpstr>
      <vt:lpstr>RSG standardisering  Översiktlig handlingsplan 2023-01-04</vt:lpstr>
      <vt:lpstr>PowerPoint-presentation</vt:lpstr>
      <vt:lpstr>Resultat </vt:lpstr>
      <vt:lpstr>Utmaningar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a Minich Karlsson</dc:creator>
  <cp:lastModifiedBy>Thålin Conny</cp:lastModifiedBy>
  <cp:revision>107</cp:revision>
  <dcterms:created xsi:type="dcterms:W3CDTF">2020-10-30T06:43:58Z</dcterms:created>
  <dcterms:modified xsi:type="dcterms:W3CDTF">2023-02-23T14:51:16Z</dcterms:modified>
</cp:coreProperties>
</file>